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95" d="100"/>
          <a:sy n="95" d="100"/>
        </p:scale>
        <p:origin x="378" y="96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.a.darshan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jpeg"/><Relationship Id="rId4" Type="http://schemas.openxmlformats.org/officeDocument/2006/relationships/hyperlink" Target="mailto:7019186249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68652" y="3119176"/>
            <a:ext cx="384889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Online Sweet Shop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Online Sweet Shop along with Postman Authentication.</a:t>
            </a:r>
            <a:r>
              <a:rPr lang="en-US" altLang="en-US" sz="1100" dirty="0"/>
              <a:t>Material-UI and React Bootstrap used for user interface.</a:t>
            </a:r>
          </a:p>
          <a:p>
            <a:pPr>
              <a:lnSpc>
                <a:spcPct val="114000"/>
              </a:lnSpc>
            </a:pPr>
            <a:r>
              <a:rPr lang="en-US" altLang="nl-NL" b="1" dirty="0"/>
              <a:t>LOGIN AND REGISTRATION OF ONLINE SWEET SHOP</a:t>
            </a:r>
            <a:endParaRPr lang="en-US" altLang="nl-NL" dirty="0"/>
          </a:p>
          <a:p>
            <a:pPr lvl="1">
              <a:buClrTx/>
            </a:pPr>
            <a:r>
              <a:rPr lang="en-US" sz="1100" dirty="0"/>
              <a:t>Where customers and admins can visit and login to the online sweet shop through webpage</a:t>
            </a:r>
          </a:p>
          <a:p>
            <a:pPr lvl="1">
              <a:buClrTx/>
            </a:pPr>
            <a:r>
              <a:rPr lang="en-US" altLang="nl-NL" sz="1100" dirty="0"/>
              <a:t>Customer logs in to customer homepage where they can shop online.</a:t>
            </a:r>
          </a:p>
          <a:p>
            <a:pPr lvl="1">
              <a:buClrTx/>
            </a:pPr>
            <a:r>
              <a:rPr lang="en-US" altLang="nl-NL" sz="1100" dirty="0"/>
              <a:t>Admin logs in to the admin homepage where they can manage products and users.</a:t>
            </a:r>
            <a:endParaRPr lang="en-IN" altLang="nl-NL" sz="1100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82" y="746126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61272" y="1339837"/>
            <a:ext cx="1642640" cy="200089"/>
          </a:xfrm>
        </p:spPr>
        <p:txBody>
          <a:bodyPr anchor="t"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1" y="1552493"/>
            <a:ext cx="2402831" cy="244303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xxxxxxxxxxxxxx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59944" y="1837138"/>
            <a:ext cx="1861203" cy="179147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nl-NL" altLang="nl-NL" dirty="0">
                <a:hlinkClick r:id="rId4"/>
              </a:rPr>
              <a:t>XXXXXXX249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8275" y="3119176"/>
            <a:ext cx="4415557" cy="3420641"/>
          </a:xfrm>
        </p:spPr>
        <p:txBody>
          <a:bodyPr/>
          <a:lstStyle/>
          <a:p>
            <a:r>
              <a:rPr lang="en-US" altLang="en-US" sz="1100" dirty="0"/>
              <a:t> </a:t>
            </a:r>
            <a:r>
              <a:rPr lang="en-US" altLang="en-US" sz="1100" b="1" dirty="0"/>
              <a:t>Full Stack Develop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/>
              <a:t>Hands on experience in developing web pages using </a:t>
            </a:r>
            <a:r>
              <a:rPr lang="en-US" sz="1100" b="1" dirty="0"/>
              <a:t>HTML5, CSS3, Java script, ES6,  JSON, XML</a:t>
            </a:r>
            <a:r>
              <a:rPr lang="en-US" sz="1100" dirty="0"/>
              <a:t>. </a:t>
            </a:r>
            <a:endParaRPr lang="en-US" altLang="en-US" sz="11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en-US" sz="1100" dirty="0"/>
              <a:t>Has working knowledge on ReactJS , Java Microservice Development using Spring framework on an intermediate level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4864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Engineering 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/>
              <a:t>2015 - 2019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 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ibern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T-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React J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 On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101071" y="1970730"/>
            <a:ext cx="1324628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3732" y="479097"/>
            <a:ext cx="6223654" cy="306703"/>
          </a:xfrm>
        </p:spPr>
        <p:txBody>
          <a:bodyPr/>
          <a:lstStyle/>
          <a:p>
            <a:r>
              <a:rPr lang="en-US" dirty="0"/>
              <a:t>V DARSHAN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FCB8161B-939A-8430-13C2-5EB8CF4547AA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9" t="2138" r="89" b="18924"/>
          <a:stretch/>
        </p:blipFill>
        <p:spPr>
          <a:xfrm>
            <a:off x="383259" y="28749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infopath/2007/PartnerControls"/>
    <ds:schemaRef ds:uri="http://purl.org/dc/terms/"/>
    <ds:schemaRef ds:uri="fd33c62d-2c11-46e7-88a2-e90fa986d9d0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47da6acf-edf2-43bc-9595-f721a214a14e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919</TotalTime>
  <Words>235</Words>
  <Application>Microsoft Office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Pranav Kumar</cp:lastModifiedBy>
  <cp:revision>132</cp:revision>
  <dcterms:created xsi:type="dcterms:W3CDTF">2017-12-08T05:27:40Z</dcterms:created>
  <dcterms:modified xsi:type="dcterms:W3CDTF">2022-05-10T06:5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